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44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9077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7019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42901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94786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201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259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4115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189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361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874969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0757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8 July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97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6828448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45141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C222F45B-17E0-405A-9681-735FBCC07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C222F45B-17E0-405A-9681-735FBCC07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F83A37-7952-44F1-A63E-478487CFADBB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3149901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 : Amélioration de ligne, </a:t>
            </a:r>
            <a:fld id="{0ADEEFC1-8D9C-44CE-8B56-ECADF94EB012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8. Jul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B88F71-47A5-4AEE-9E25-AC8F58525FD2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age </a:t>
            </a:r>
            <a:fld id="{C448AF2A-59E1-408B-AAD4-A6BA9EB5A6B5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4641FB4-35F5-4ED2-881F-1F72ADE5AD43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19CA88A-5538-4FEF-91C0-B295AC7C1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63B686B-1F14-481B-9072-95BB06DBF5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D88810E1-AA50-43FD-A532-57DDF202B7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13E8AE9E-277B-4A42-AD23-DC2128984158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17CE45E9-D66F-4E71-98EA-F6292361F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17CE45E9-D66F-4E71-98EA-F6292361F6B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015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70791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42259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6342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268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17452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2959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951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8 July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8FF5373-0B8F-4F1C-959D-97DA86F1ED84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42611351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460969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Assurez l'hygiène de la préforme et du produit fini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42213" y="1642066"/>
            <a:ext cx="7833296" cy="412280"/>
          </a:xfrm>
        </p:spPr>
        <p:txBody>
          <a:bodyPr/>
          <a:lstStyle/>
          <a:p>
            <a:r>
              <a:rPr lang="fr-FR" altLang="fr-FR" dirty="0"/>
              <a:t>Module de dépoussiérage des préformes</a:t>
            </a:r>
            <a:endParaRPr lang="fr-FR" altLang="zh-CN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fr-FR" altLang="zh-CN" dirty="0"/>
          </a:p>
          <a:p>
            <a:endParaRPr lang="fr-F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1"/>
            <a:ext cx="4084114" cy="36785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Reduction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drastique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des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particules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dans les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preformes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altLang="zh-CN" sz="1323" b="0" kern="0" dirty="0">
                <a:solidFill>
                  <a:srgbClr val="000000"/>
                </a:solidFill>
              </a:rPr>
              <a:t>La poussière de PET éliminée jusqu'à 100% (mini 97%)</a:t>
            </a:r>
            <a:endParaRPr lang="fr-FR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2"/>
            <a:ext cx="4029828" cy="367856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Avec le flux d'air filtré, le module élimine les particules solides susceptibles de s'accumuler dans les préformes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fr-F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35714" y="6241788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Valeur : Qualité du produit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Équipements : </a:t>
            </a:r>
            <a:r>
              <a:rPr lang="en-GB" altLang="fr-FR" sz="882" b="0" dirty="0" err="1">
                <a:solidFill>
                  <a:srgbClr val="000000"/>
                </a:solidFill>
              </a:rPr>
              <a:t>souffleuses</a:t>
            </a:r>
            <a:r>
              <a:rPr lang="en-GB" altLang="fr-FR" sz="882" b="0">
                <a:solidFill>
                  <a:srgbClr val="000000"/>
                </a:solidFill>
              </a:rPr>
              <a:t> Universal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Code catalogue : 1050</a:t>
            </a: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9330" y="4606369"/>
            <a:ext cx="1477993" cy="1490275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196" y="4064004"/>
            <a:ext cx="1767662" cy="1448646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6A8E90B2-B188-4148-BBA4-2EF664A1492C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VALEUR ET AVANTAGES</a:t>
            </a:r>
            <a:endParaRPr lang="fr-FR" sz="1544" dirty="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D63B9B-5E9E-4952-B92C-1DD9DBEE71E9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467118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Pages>1</Pages>
  <Words>56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Assurez l'hygiène de la préforme et du produit fini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5</cp:revision>
  <cp:lastPrinted>2016-08-02T08:13:06Z</cp:lastPrinted>
  <dcterms:created xsi:type="dcterms:W3CDTF">2009-07-10T13:59:45Z</dcterms:created>
  <dcterms:modified xsi:type="dcterms:W3CDTF">2020-07-08T15:1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7-08T14:52:08.112196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3T10:28:29.139623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3T10:28:29.1496231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